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ppt/tags/tag30.xml" ContentType="application/vnd.openxmlformats-officedocument.presentationml.tags+xml"/>
  <Override PartName="/ppt/notesSlides/notesSlide16.xml" ContentType="application/vnd.openxmlformats-officedocument.presentationml.notesSlide+xml"/>
  <Override PartName="/ppt/tags/tag31.xml" ContentType="application/vnd.openxmlformats-officedocument.presentationml.tags+xml"/>
  <Override PartName="/ppt/notesSlides/notesSlide17.xml" ContentType="application/vnd.openxmlformats-officedocument.presentationml.notesSlide+xml"/>
  <Override PartName="/ppt/tags/tag32.xml" ContentType="application/vnd.openxmlformats-officedocument.presentationml.tags+xml"/>
  <Override PartName="/ppt/notesSlides/notesSlide18.xml" ContentType="application/vnd.openxmlformats-officedocument.presentationml.notesSlide+xml"/>
  <Override PartName="/ppt/tags/tag33.xml" ContentType="application/vnd.openxmlformats-officedocument.presentationml.tags+xml"/>
  <Override PartName="/ppt/notesSlides/notesSlide19.xml" ContentType="application/vnd.openxmlformats-officedocument.presentationml.notesSlide+xml"/>
  <Override PartName="/ppt/tags/tag34.xml" ContentType="application/vnd.openxmlformats-officedocument.presentationml.tags+xml"/>
  <Override PartName="/ppt/notesSlides/notesSlide20.xml" ContentType="application/vnd.openxmlformats-officedocument.presentationml.notesSlide+xml"/>
  <Override PartName="/ppt/tags/tag35.xml" ContentType="application/vnd.openxmlformats-officedocument.presentationml.tags+xml"/>
  <Override PartName="/ppt/notesSlides/notesSlide21.xml" ContentType="application/vnd.openxmlformats-officedocument.presentationml.notesSlide+xml"/>
  <Override PartName="/ppt/tags/tag36.xml" ContentType="application/vnd.openxmlformats-officedocument.presentationml.tags+xml"/>
  <Override PartName="/ppt/notesSlides/notesSlide22.xml" ContentType="application/vnd.openxmlformats-officedocument.presentationml.notesSlide+xml"/>
  <Override PartName="/ppt/tags/tag37.xml" ContentType="application/vnd.openxmlformats-officedocument.presentationml.tags+xml"/>
  <Override PartName="/ppt/notesSlides/notesSlide23.xml" ContentType="application/vnd.openxmlformats-officedocument.presentationml.notesSlide+xml"/>
  <Override PartName="/ppt/tags/tag38.xml" ContentType="application/vnd.openxmlformats-officedocument.presentationml.tags+xml"/>
  <Override PartName="/ppt/notesSlides/notesSlide24.xml" ContentType="application/vnd.openxmlformats-officedocument.presentationml.notesSlide+xml"/>
  <Override PartName="/ppt/tags/tag39.xml" ContentType="application/vnd.openxmlformats-officedocument.presentationml.tags+xml"/>
  <Override PartName="/ppt/notesSlides/notesSlide25.xml" ContentType="application/vnd.openxmlformats-officedocument.presentationml.notesSlide+xml"/>
  <Override PartName="/ppt/tags/tag40.xml" ContentType="application/vnd.openxmlformats-officedocument.presentationml.tags+xml"/>
  <Override PartName="/ppt/notesSlides/notesSlide26.xml" ContentType="application/vnd.openxmlformats-officedocument.presentationml.notesSlide+xml"/>
  <Override PartName="/ppt/tags/tag41.xml" ContentType="application/vnd.openxmlformats-officedocument.presentationml.tags+xml"/>
  <Override PartName="/ppt/notesSlides/notesSlide27.xml" ContentType="application/vnd.openxmlformats-officedocument.presentationml.notesSlide+xml"/>
  <Override PartName="/ppt/tags/tag42.xml" ContentType="application/vnd.openxmlformats-officedocument.presentationml.tags+xml"/>
  <Override PartName="/ppt/notesSlides/notesSlide28.xml" ContentType="application/vnd.openxmlformats-officedocument.presentationml.notesSlide+xml"/>
  <Override PartName="/ppt/tags/tag43.xml" ContentType="application/vnd.openxmlformats-officedocument.presentationml.tags+xml"/>
  <Override PartName="/ppt/notesSlides/notesSlide29.xml" ContentType="application/vnd.openxmlformats-officedocument.presentationml.notesSlide+xml"/>
  <Override PartName="/ppt/tags/tag44.xml" ContentType="application/vnd.openxmlformats-officedocument.presentationml.tags+xml"/>
  <Override PartName="/ppt/notesSlides/notesSlide30.xml" ContentType="application/vnd.openxmlformats-officedocument.presentationml.notesSlide+xml"/>
  <Override PartName="/ppt/tags/tag45.xml" ContentType="application/vnd.openxmlformats-officedocument.presentationml.tags+xml"/>
  <Override PartName="/ppt/notesSlides/notesSlide3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9" r:id="rId1"/>
  </p:sldMasterIdLst>
  <p:notesMasterIdLst>
    <p:notesMasterId r:id="rId33"/>
  </p:notesMasterIdLst>
  <p:sldIdLst>
    <p:sldId id="322" r:id="rId2"/>
    <p:sldId id="258" r:id="rId3"/>
    <p:sldId id="259" r:id="rId4"/>
    <p:sldId id="261" r:id="rId5"/>
    <p:sldId id="262" r:id="rId6"/>
    <p:sldId id="316" r:id="rId7"/>
    <p:sldId id="265" r:id="rId8"/>
    <p:sldId id="302" r:id="rId9"/>
    <p:sldId id="286" r:id="rId10"/>
    <p:sldId id="303" r:id="rId11"/>
    <p:sldId id="271" r:id="rId12"/>
    <p:sldId id="304" r:id="rId13"/>
    <p:sldId id="329" r:id="rId14"/>
    <p:sldId id="290" r:id="rId15"/>
    <p:sldId id="279" r:id="rId16"/>
    <p:sldId id="298" r:id="rId17"/>
    <p:sldId id="282" r:id="rId18"/>
    <p:sldId id="293" r:id="rId19"/>
    <p:sldId id="294" r:id="rId20"/>
    <p:sldId id="334" r:id="rId21"/>
    <p:sldId id="335" r:id="rId22"/>
    <p:sldId id="336" r:id="rId23"/>
    <p:sldId id="333" r:id="rId24"/>
    <p:sldId id="309" r:id="rId25"/>
    <p:sldId id="332" r:id="rId26"/>
    <p:sldId id="323" r:id="rId27"/>
    <p:sldId id="324" r:id="rId28"/>
    <p:sldId id="296" r:id="rId29"/>
    <p:sldId id="330" r:id="rId30"/>
    <p:sldId id="331" r:id="rId31"/>
    <p:sldId id="312" r:id="rId32"/>
  </p:sldIdLst>
  <p:sldSz cx="9144000" cy="6858000" type="screen4x3"/>
  <p:notesSz cx="6858000" cy="9144000"/>
  <p:custDataLst>
    <p:tags r:id="rId34"/>
  </p:custDataLst>
  <p:defaultTextStyle>
    <a:defPPr>
      <a:defRPr lang="en-US"/>
    </a:defPPr>
    <a:lvl1pPr algn="l" rtl="0" fontAlgn="base">
      <a:lnSpc>
        <a:spcPct val="90000"/>
      </a:lnSpc>
      <a:spcBef>
        <a:spcPct val="20000"/>
      </a:spcBef>
      <a:spcAft>
        <a:spcPct val="0"/>
      </a:spcAft>
      <a:defRPr sz="3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20000"/>
      </a:spcBef>
      <a:spcAft>
        <a:spcPct val="0"/>
      </a:spcAft>
      <a:defRPr sz="3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20000"/>
      </a:spcBef>
      <a:spcAft>
        <a:spcPct val="0"/>
      </a:spcAft>
      <a:defRPr sz="3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20000"/>
      </a:spcBef>
      <a:spcAft>
        <a:spcPct val="0"/>
      </a:spcAft>
      <a:defRPr sz="3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20000"/>
      </a:spcBef>
      <a:spcAft>
        <a:spcPct val="0"/>
      </a:spcAft>
      <a:defRPr sz="3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3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3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3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3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ulia Clark" initials="JC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43" autoAdjust="0"/>
    <p:restoredTop sz="94660"/>
  </p:normalViewPr>
  <p:slideViewPr>
    <p:cSldViewPr>
      <p:cViewPr>
        <p:scale>
          <a:sx n="81" d="100"/>
          <a:sy n="81" d="100"/>
        </p:scale>
        <p:origin x="-1092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hqfile1\center4gd\CDI\2013\Index\Index%202013.xlsm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view3D>
      <c:rotX val="16"/>
      <c:hPercent val="100"/>
      <c:rotY val="26"/>
      <c:depthPercent val="10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1365969162111617"/>
          <c:y val="3.3283789939480703E-2"/>
          <c:w val="0.81549551718879276"/>
          <c:h val="0.90413223140495858"/>
        </c:manualLayout>
      </c:layout>
      <c:bar3DChart>
        <c:barDir val="col"/>
        <c:grouping val="standard"/>
        <c:varyColors val="0"/>
        <c:ser>
          <c:idx val="0"/>
          <c:order val="0"/>
          <c:tx>
            <c:strRef>
              <c:f>'Sensitivity tests'!$A$43</c:f>
              <c:strCache>
                <c:ptCount val="1"/>
                <c:pt idx="0">
                  <c:v>Aid</c:v>
                </c:pt>
              </c:strCache>
            </c:strRef>
          </c:tx>
          <c:invertIfNegative val="0"/>
          <c:val>
            <c:numRef>
              <c:f>'Sensitivity tests'!$B$51:$K$51</c:f>
              <c:numCache>
                <c:formatCode>0.00</c:formatCode>
                <c:ptCount val="10"/>
                <c:pt idx="0">
                  <c:v>2.8636363636363638</c:v>
                </c:pt>
                <c:pt idx="1">
                  <c:v>3.1363636363636362</c:v>
                </c:pt>
                <c:pt idx="2">
                  <c:v>3.1818181818181817</c:v>
                </c:pt>
                <c:pt idx="3">
                  <c:v>3.4090909090909092</c:v>
                </c:pt>
                <c:pt idx="4">
                  <c:v>3.3636363636363638</c:v>
                </c:pt>
                <c:pt idx="5">
                  <c:v>3.5909090909090908</c:v>
                </c:pt>
                <c:pt idx="6">
                  <c:v>3.6363636363636362</c:v>
                </c:pt>
                <c:pt idx="7">
                  <c:v>3.7727272727272729</c:v>
                </c:pt>
                <c:pt idx="8">
                  <c:v>3.8181818181818183</c:v>
                </c:pt>
                <c:pt idx="9">
                  <c:v>3.7272727272727271</c:v>
                </c:pt>
              </c:numCache>
            </c:numRef>
          </c:val>
        </c:ser>
        <c:ser>
          <c:idx val="1"/>
          <c:order val="1"/>
          <c:tx>
            <c:strRef>
              <c:f>'Sensitivity tests'!$A$44</c:f>
              <c:strCache>
                <c:ptCount val="1"/>
                <c:pt idx="0">
                  <c:v>Trade</c:v>
                </c:pt>
              </c:strCache>
            </c:strRef>
          </c:tx>
          <c:invertIfNegative val="0"/>
          <c:val>
            <c:numRef>
              <c:f>'Sensitivity tests'!$L$51:$U$51</c:f>
              <c:numCache>
                <c:formatCode>0.00</c:formatCode>
                <c:ptCount val="10"/>
                <c:pt idx="0">
                  <c:v>2.8636363636363638</c:v>
                </c:pt>
                <c:pt idx="1">
                  <c:v>3.3636363636363638</c:v>
                </c:pt>
                <c:pt idx="2">
                  <c:v>3.9545454545454546</c:v>
                </c:pt>
                <c:pt idx="3">
                  <c:v>4.1818181818181817</c:v>
                </c:pt>
                <c:pt idx="4">
                  <c:v>4.5454545454545459</c:v>
                </c:pt>
                <c:pt idx="5">
                  <c:v>4.9545454545454541</c:v>
                </c:pt>
                <c:pt idx="6">
                  <c:v>5</c:v>
                </c:pt>
                <c:pt idx="7">
                  <c:v>5.0454545454545459</c:v>
                </c:pt>
                <c:pt idx="8">
                  <c:v>5.0909090909090908</c:v>
                </c:pt>
                <c:pt idx="9">
                  <c:v>5.1818181818181817</c:v>
                </c:pt>
              </c:numCache>
            </c:numRef>
          </c:val>
        </c:ser>
        <c:ser>
          <c:idx val="2"/>
          <c:order val="2"/>
          <c:tx>
            <c:strRef>
              <c:f>'Sensitivity tests'!$A$45</c:f>
              <c:strCache>
                <c:ptCount val="1"/>
                <c:pt idx="0">
                  <c:v>Finance</c:v>
                </c:pt>
              </c:strCache>
            </c:strRef>
          </c:tx>
          <c:invertIfNegative val="0"/>
          <c:val>
            <c:numRef>
              <c:f>'Sensitivity tests'!$V$51:$AE$51</c:f>
              <c:numCache>
                <c:formatCode>0.00</c:formatCode>
                <c:ptCount val="10"/>
                <c:pt idx="0">
                  <c:v>2.8636363636363638</c:v>
                </c:pt>
                <c:pt idx="1">
                  <c:v>3.0909090909090908</c:v>
                </c:pt>
                <c:pt idx="2">
                  <c:v>3.5</c:v>
                </c:pt>
                <c:pt idx="3">
                  <c:v>4.0454545454545459</c:v>
                </c:pt>
                <c:pt idx="4">
                  <c:v>4.1818181818181817</c:v>
                </c:pt>
                <c:pt idx="5">
                  <c:v>4.4090909090909092</c:v>
                </c:pt>
                <c:pt idx="6">
                  <c:v>4.4090909090909092</c:v>
                </c:pt>
                <c:pt idx="7">
                  <c:v>4.6363636363636367</c:v>
                </c:pt>
                <c:pt idx="8">
                  <c:v>4.8181818181818183</c:v>
                </c:pt>
                <c:pt idx="9">
                  <c:v>5.2272727272727275</c:v>
                </c:pt>
              </c:numCache>
            </c:numRef>
          </c:val>
        </c:ser>
        <c:ser>
          <c:idx val="3"/>
          <c:order val="3"/>
          <c:tx>
            <c:strRef>
              <c:f>'Sensitivity tests'!$A$46</c:f>
              <c:strCache>
                <c:ptCount val="1"/>
                <c:pt idx="0">
                  <c:v>Migration</c:v>
                </c:pt>
              </c:strCache>
            </c:strRef>
          </c:tx>
          <c:invertIfNegative val="0"/>
          <c:val>
            <c:numRef>
              <c:f>'Sensitivity tests'!$AF$51:$AO$51</c:f>
              <c:numCache>
                <c:formatCode>0.00</c:formatCode>
                <c:ptCount val="10"/>
                <c:pt idx="0">
                  <c:v>2.8636363636363638</c:v>
                </c:pt>
                <c:pt idx="1">
                  <c:v>3.5</c:v>
                </c:pt>
                <c:pt idx="2">
                  <c:v>4.1363636363636367</c:v>
                </c:pt>
                <c:pt idx="3">
                  <c:v>4.6363636363636367</c:v>
                </c:pt>
                <c:pt idx="4">
                  <c:v>5.0909090909090908</c:v>
                </c:pt>
                <c:pt idx="5">
                  <c:v>5.3636363636363633</c:v>
                </c:pt>
                <c:pt idx="6">
                  <c:v>5.4090909090909092</c:v>
                </c:pt>
                <c:pt idx="7">
                  <c:v>5.8181818181818183</c:v>
                </c:pt>
                <c:pt idx="8">
                  <c:v>6.1363636363636367</c:v>
                </c:pt>
                <c:pt idx="9">
                  <c:v>6.1818181818181817</c:v>
                </c:pt>
              </c:numCache>
            </c:numRef>
          </c:val>
        </c:ser>
        <c:ser>
          <c:idx val="4"/>
          <c:order val="4"/>
          <c:tx>
            <c:strRef>
              <c:f>'Sensitivity tests'!$A$47</c:f>
              <c:strCache>
                <c:ptCount val="1"/>
                <c:pt idx="0">
                  <c:v>Security</c:v>
                </c:pt>
              </c:strCache>
            </c:strRef>
          </c:tx>
          <c:invertIfNegative val="0"/>
          <c:val>
            <c:numRef>
              <c:f>'Sensitivity tests'!$AP$51:$AY$51</c:f>
              <c:numCache>
                <c:formatCode>0.00</c:formatCode>
                <c:ptCount val="10"/>
                <c:pt idx="0">
                  <c:v>2.8636363636363638</c:v>
                </c:pt>
                <c:pt idx="1">
                  <c:v>3.5454545454545454</c:v>
                </c:pt>
                <c:pt idx="2">
                  <c:v>4.5909090909090908</c:v>
                </c:pt>
                <c:pt idx="3">
                  <c:v>5.5</c:v>
                </c:pt>
                <c:pt idx="4">
                  <c:v>6.3181818181818183</c:v>
                </c:pt>
                <c:pt idx="5">
                  <c:v>6.7727272727272725</c:v>
                </c:pt>
                <c:pt idx="6">
                  <c:v>7.2272727272727275</c:v>
                </c:pt>
                <c:pt idx="7">
                  <c:v>7.3636363636363633</c:v>
                </c:pt>
                <c:pt idx="8">
                  <c:v>7.7272727272727275</c:v>
                </c:pt>
                <c:pt idx="9">
                  <c:v>8</c:v>
                </c:pt>
              </c:numCache>
            </c:numRef>
          </c:val>
        </c:ser>
        <c:ser>
          <c:idx val="5"/>
          <c:order val="5"/>
          <c:tx>
            <c:strRef>
              <c:f>'Sensitivity tests'!$A$48</c:f>
              <c:strCache>
                <c:ptCount val="1"/>
                <c:pt idx="0">
                  <c:v>Environment</c:v>
                </c:pt>
              </c:strCache>
            </c:strRef>
          </c:tx>
          <c:invertIfNegative val="0"/>
          <c:val>
            <c:numRef>
              <c:f>'Sensitivity tests'!$AZ$51:$BI$51</c:f>
              <c:numCache>
                <c:formatCode>0.00</c:formatCode>
                <c:ptCount val="10"/>
                <c:pt idx="0">
                  <c:v>2.8636363636363638</c:v>
                </c:pt>
                <c:pt idx="1">
                  <c:v>3.3636363636363638</c:v>
                </c:pt>
                <c:pt idx="2">
                  <c:v>3.7272727272727271</c:v>
                </c:pt>
                <c:pt idx="3">
                  <c:v>3.7727272727272729</c:v>
                </c:pt>
                <c:pt idx="4">
                  <c:v>4</c:v>
                </c:pt>
                <c:pt idx="5">
                  <c:v>4.4545454545454541</c:v>
                </c:pt>
                <c:pt idx="6">
                  <c:v>4.7727272727272725</c:v>
                </c:pt>
                <c:pt idx="7">
                  <c:v>4.8181818181818183</c:v>
                </c:pt>
                <c:pt idx="8">
                  <c:v>4.7727272727272725</c:v>
                </c:pt>
                <c:pt idx="9">
                  <c:v>4.9090909090909092</c:v>
                </c:pt>
              </c:numCache>
            </c:numRef>
          </c:val>
        </c:ser>
        <c:ser>
          <c:idx val="6"/>
          <c:order val="6"/>
          <c:tx>
            <c:strRef>
              <c:f>'Sensitivity tests'!$A$49</c:f>
              <c:strCache>
                <c:ptCount val="1"/>
                <c:pt idx="0">
                  <c:v>Technology</c:v>
                </c:pt>
              </c:strCache>
            </c:strRef>
          </c:tx>
          <c:invertIfNegative val="0"/>
          <c:val>
            <c:numRef>
              <c:f>'Sensitivity tests'!$BJ$51:$BS$51</c:f>
              <c:numCache>
                <c:formatCode>0.00</c:formatCode>
                <c:ptCount val="10"/>
                <c:pt idx="0">
                  <c:v>2.8636363636363638</c:v>
                </c:pt>
                <c:pt idx="1">
                  <c:v>3.5</c:v>
                </c:pt>
                <c:pt idx="2">
                  <c:v>3.8636363636363638</c:v>
                </c:pt>
                <c:pt idx="3">
                  <c:v>4.1363636363636367</c:v>
                </c:pt>
                <c:pt idx="4">
                  <c:v>4.4545454545454541</c:v>
                </c:pt>
                <c:pt idx="5">
                  <c:v>4.5454545454545459</c:v>
                </c:pt>
                <c:pt idx="6">
                  <c:v>4.5909090909090908</c:v>
                </c:pt>
                <c:pt idx="7">
                  <c:v>5</c:v>
                </c:pt>
                <c:pt idx="8">
                  <c:v>5</c:v>
                </c:pt>
                <c:pt idx="9">
                  <c:v>5.227272727272727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98853632"/>
        <c:axId val="98855552"/>
        <c:axId val="98850112"/>
      </c:bar3DChart>
      <c:catAx>
        <c:axId val="98853632"/>
        <c:scaling>
          <c:orientation val="minMax"/>
        </c:scaling>
        <c:delete val="0"/>
        <c:axPos val="b"/>
        <c:title>
          <c:tx>
            <c:rich>
              <a:bodyPr rot="720000" vert="horz"/>
              <a:lstStyle/>
              <a:p>
                <a:pPr algn="ctr">
                  <a:defRPr sz="1200" b="0" i="0" u="none" strike="noStrike" baseline="0">
                    <a:solidFill>
                      <a:schemeClr val="tx1"/>
                    </a:solidFill>
                    <a:latin typeface="Gill Sans MT" pitchFamily="34" charset="0"/>
                    <a:ea typeface="Arial"/>
                    <a:cs typeface="Arial"/>
                  </a:defRPr>
                </a:pPr>
                <a:r>
                  <a:rPr lang="en-US" sz="1200">
                    <a:solidFill>
                      <a:schemeClr val="tx1"/>
                    </a:solidFill>
                    <a:latin typeface="Gill Sans MT" pitchFamily="34" charset="0"/>
                  </a:rPr>
                  <a:t>Higher weight</a:t>
                </a:r>
              </a:p>
            </c:rich>
          </c:tx>
          <c:layout>
            <c:manualLayout>
              <c:xMode val="edge"/>
              <c:yMode val="edge"/>
              <c:x val="0.27472015539341982"/>
              <c:y val="0.82644628099173556"/>
            </c:manualLayout>
          </c:layout>
          <c:overlay val="0"/>
        </c:title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98855552"/>
        <c:crosses val="autoZero"/>
        <c:auto val="1"/>
        <c:lblAlgn val="ctr"/>
        <c:lblOffset val="100"/>
        <c:tickLblSkip val="1"/>
        <c:tickMarkSkip val="1"/>
        <c:noMultiLvlLbl val="1"/>
      </c:catAx>
      <c:valAx>
        <c:axId val="98855552"/>
        <c:scaling>
          <c:orientation val="minMax"/>
        </c:scaling>
        <c:delete val="0"/>
        <c:axPos val="l"/>
        <c:majorGridlines/>
        <c:numFmt formatCode="0.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98853632"/>
        <c:crosses val="autoZero"/>
        <c:crossBetween val="between"/>
      </c:valAx>
      <c:serAx>
        <c:axId val="98850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rgbClr val="808080"/>
            </a:solidFill>
            <a:prstDash val="solid"/>
          </a:ln>
        </c:spPr>
        <c:txPr>
          <a:bodyPr rot="9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Gill Sans MT" pitchFamily="34" charset="0"/>
                <a:ea typeface="Arial"/>
                <a:cs typeface="Arial"/>
              </a:defRPr>
            </a:pPr>
            <a:endParaRPr lang="en-US"/>
          </a:p>
        </c:txPr>
        <c:crossAx val="98855552"/>
        <c:crosses val="autoZero"/>
        <c:tickLblSkip val="1"/>
        <c:tickMarkSkip val="1"/>
      </c:ser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043</cdr:x>
      <cdr:y>0.00656</cdr:y>
    </cdr:from>
    <cdr:to>
      <cdr:x>0.21462</cdr:x>
      <cdr:y>0.0825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2400" y="35892"/>
          <a:ext cx="1448283" cy="4160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dirty="0">
              <a:solidFill>
                <a:schemeClr val="tx1"/>
              </a:solidFill>
              <a:latin typeface="Gill Sans MT" pitchFamily="34" charset="0"/>
            </a:rPr>
            <a:t>Average</a:t>
          </a:r>
          <a:r>
            <a:rPr lang="en-US" sz="1200" baseline="0" dirty="0">
              <a:solidFill>
                <a:schemeClr val="tx1"/>
              </a:solidFill>
              <a:latin typeface="Gill Sans MT" pitchFamily="34" charset="0"/>
            </a:rPr>
            <a:t> absolute</a:t>
          </a:r>
        </a:p>
        <a:p xmlns:a="http://schemas.openxmlformats.org/drawingml/2006/main">
          <a:r>
            <a:rPr lang="en-US" sz="1200" baseline="0" dirty="0">
              <a:solidFill>
                <a:schemeClr val="tx1"/>
              </a:solidFill>
              <a:latin typeface="Gill Sans MT" pitchFamily="34" charset="0"/>
            </a:rPr>
            <a:t>rank change</a:t>
          </a:r>
          <a:endParaRPr lang="en-US" sz="1200" dirty="0">
            <a:solidFill>
              <a:schemeClr val="tx1"/>
            </a:solidFill>
            <a:latin typeface="Gill Sans MT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defRPr sz="1200">
                <a:latin typeface="Gill Sans MT"/>
                <a:sym typeface="Gill Sans M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451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>
                <a:latin typeface="Gill Sans MT"/>
                <a:sym typeface="Gill Sans M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99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451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defRPr sz="1200">
                <a:latin typeface="Gill Sans MT"/>
                <a:sym typeface="Gill Sans M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451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200">
                <a:latin typeface="Gill Sans MT"/>
                <a:sym typeface="Gill Sans MT"/>
              </a:defRPr>
            </a:lvl1pPr>
          </a:lstStyle>
          <a:p>
            <a:pPr>
              <a:defRPr/>
            </a:pPr>
            <a:fld id="{E3294420-A71E-412C-B586-527EE72083C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83046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Gill Sans MT"/>
        <a:ea typeface="+mn-ea"/>
        <a:cs typeface="+mn-cs"/>
        <a:sym typeface="Gill Sans MT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Gill Sans MT"/>
        <a:ea typeface="+mn-ea"/>
        <a:cs typeface="+mn-cs"/>
        <a:sym typeface="Gill Sans MT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Gill Sans MT"/>
        <a:ea typeface="+mn-ea"/>
        <a:cs typeface="+mn-cs"/>
        <a:sym typeface="Gill Sans MT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Gill Sans MT"/>
        <a:ea typeface="+mn-ea"/>
        <a:cs typeface="+mn-cs"/>
        <a:sym typeface="Gill Sans MT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Gill Sans MT"/>
        <a:ea typeface="+mn-ea"/>
        <a:cs typeface="+mn-cs"/>
        <a:sym typeface="Gill Sans M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C369F3B-DB95-4DB9-94D9-2F152467C2D2}" type="slidenum">
              <a:rPr lang="en-US" smtClean="0"/>
              <a:pPr/>
              <a:t>1</a:t>
            </a:fld>
            <a:endParaRPr lang="en-US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10D0F00-7A9F-4F3F-8DC0-72AC307DCEDD}" type="slidenum">
              <a:rPr lang="en-US" smtClean="0"/>
              <a:pPr/>
              <a:t>10</a:t>
            </a:fld>
            <a:endParaRPr lang="en-US" smtClean="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A9FFD05-B6FB-4A99-A7C4-7B5C41F792B4}" type="slidenum">
              <a:rPr lang="en-US" smtClean="0"/>
              <a:pPr/>
              <a:t>11</a:t>
            </a:fld>
            <a:endParaRPr lang="en-US" smtClean="0"/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0CEF0C7-2B45-4D74-B0A0-DF5AFF5BB8E6}" type="slidenum">
              <a:rPr lang="en-US" smtClean="0"/>
              <a:pPr/>
              <a:t>12</a:t>
            </a:fld>
            <a:endParaRPr lang="en-US" smtClean="0"/>
          </a:p>
        </p:txBody>
      </p:sp>
      <p:sp>
        <p:nvSpPr>
          <p:cNvPr id="58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83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3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3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3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3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defRPr sz="3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75270CBB-8784-41E4-8B0F-5EC8D1DAB548}" type="slidenum">
              <a:rPr lang="en-US" sz="1200" smtClean="0">
                <a:latin typeface="Gill Sans MT"/>
              </a:rPr>
              <a:pPr eaLnBrk="1" hangingPunct="1"/>
              <a:t>13</a:t>
            </a:fld>
            <a:endParaRPr lang="en-US" sz="1200" smtClean="0">
              <a:latin typeface="Gill Sans MT"/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783FE78-A83D-4E77-B423-0BEAD76852F1}" type="slidenum">
              <a:rPr lang="en-US" smtClean="0"/>
              <a:pPr/>
              <a:t>14</a:t>
            </a:fld>
            <a:endParaRPr lang="en-US" smtClean="0"/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F4A5972-03FA-4833-A0E1-53E42886BF6E}" type="slidenum">
              <a:rPr lang="en-US" smtClean="0"/>
              <a:pPr/>
              <a:t>15</a:t>
            </a:fld>
            <a:endParaRPr lang="en-US" smtClean="0"/>
          </a:p>
        </p:txBody>
      </p:sp>
      <p:sp>
        <p:nvSpPr>
          <p:cNvPr id="63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34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38292DD-C8AD-467B-8FD4-0DA0A382B844}" type="slidenum">
              <a:rPr lang="en-US" smtClean="0"/>
              <a:pPr/>
              <a:t>16</a:t>
            </a:fld>
            <a:endParaRPr lang="en-US" smtClean="0"/>
          </a:p>
        </p:txBody>
      </p:sp>
      <p:sp>
        <p:nvSpPr>
          <p:cNvPr id="645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45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5A45B7D-0C57-48A5-9E5D-DB777BF84DAD}" type="slidenum">
              <a:rPr lang="en-US" smtClean="0"/>
              <a:pPr/>
              <a:t>17</a:t>
            </a:fld>
            <a:endParaRPr lang="en-US" smtClean="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BF96159-A88A-4959-9ECE-1079DFC49460}" type="slidenum">
              <a:rPr lang="en-US" smtClean="0"/>
              <a:pPr/>
              <a:t>18</a:t>
            </a:fld>
            <a:endParaRPr lang="en-US" smtClean="0"/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B39CAE-243E-4586-A2ED-03641410EB3A}" type="slidenum">
              <a:rPr lang="en-US" smtClean="0"/>
              <a:pPr/>
              <a:t>19</a:t>
            </a:fld>
            <a:endParaRPr lang="en-US" smtClean="0"/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48A5966-C74B-4061-850B-ED9B34F69BDC}" type="slidenum">
              <a:rPr lang="en-US" smtClean="0"/>
              <a:pPr/>
              <a:t>2</a:t>
            </a:fld>
            <a:endParaRPr lang="en-US" smtClean="0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737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9A22827-E140-4464-AB1F-807E42080373}" type="slidenum">
              <a:rPr lang="en-US" smtClean="0"/>
              <a:pPr/>
              <a:t>20</a:t>
            </a:fld>
            <a:endParaRPr lang="en-US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737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9A22827-E140-4464-AB1F-807E42080373}" type="slidenum">
              <a:rPr lang="en-US" smtClean="0"/>
              <a:pPr/>
              <a:t>21</a:t>
            </a:fld>
            <a:endParaRPr lang="en-US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737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9A22827-E140-4464-AB1F-807E42080373}" type="slidenum">
              <a:rPr lang="en-US" smtClean="0"/>
              <a:pPr/>
              <a:t>22</a:t>
            </a:fld>
            <a:endParaRPr lang="en-US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737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9A22827-E140-4464-AB1F-807E42080373}" type="slidenum">
              <a:rPr lang="en-US" smtClean="0"/>
              <a:pPr/>
              <a:t>23</a:t>
            </a:fld>
            <a:endParaRPr lang="en-US" smtClean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737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9A22827-E140-4464-AB1F-807E42080373}" type="slidenum">
              <a:rPr lang="en-US" smtClean="0"/>
              <a:pPr/>
              <a:t>24</a:t>
            </a:fld>
            <a:endParaRPr lang="en-US" smtClean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737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9A22827-E140-4464-AB1F-807E42080373}" type="slidenum">
              <a:rPr lang="en-US" smtClean="0"/>
              <a:pPr/>
              <a:t>25</a:t>
            </a:fld>
            <a:endParaRPr lang="en-US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577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7578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587D06-6876-4CE7-975B-119EADF9D7B7}" type="slidenum">
              <a:rPr lang="en-US" smtClean="0"/>
              <a:pPr/>
              <a:t>26</a:t>
            </a:fld>
            <a:endParaRPr lang="en-US" smtClean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680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768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49C894D-B01A-4982-ACD7-A0A003C5DC5A}" type="slidenum">
              <a:rPr lang="en-US" smtClean="0"/>
              <a:pPr/>
              <a:t>27</a:t>
            </a:fld>
            <a:endParaRPr lang="en-US" smtClean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A37D4FD-FCA1-49BF-BE74-D50568570525}" type="slidenum">
              <a:rPr lang="en-US" smtClean="0"/>
              <a:pPr/>
              <a:t>28</a:t>
            </a:fld>
            <a:endParaRPr lang="en-US" smtClean="0"/>
          </a:p>
        </p:txBody>
      </p:sp>
      <p:sp>
        <p:nvSpPr>
          <p:cNvPr id="778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A37D4FD-FCA1-49BF-BE74-D50568570525}" type="slidenum">
              <a:rPr lang="en-US" smtClean="0"/>
              <a:pPr/>
              <a:t>29</a:t>
            </a:fld>
            <a:endParaRPr lang="en-US" smtClean="0"/>
          </a:p>
        </p:txBody>
      </p:sp>
      <p:sp>
        <p:nvSpPr>
          <p:cNvPr id="778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27E1350-E981-40A6-9501-AE82FC6577D3}" type="slidenum">
              <a:rPr lang="en-US" smtClean="0"/>
              <a:pPr/>
              <a:t>3</a:t>
            </a:fld>
            <a:endParaRPr lang="en-US" smtClean="0"/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A37D4FD-FCA1-49BF-BE74-D50568570525}" type="slidenum">
              <a:rPr lang="en-US" smtClean="0"/>
              <a:pPr/>
              <a:t>30</a:t>
            </a:fld>
            <a:endParaRPr lang="en-US" smtClean="0"/>
          </a:p>
        </p:txBody>
      </p:sp>
      <p:sp>
        <p:nvSpPr>
          <p:cNvPr id="778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88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598E547-1C8C-460E-B5EB-F9427D12E044}" type="slidenum">
              <a:rPr lang="en-US" smtClean="0"/>
              <a:pPr/>
              <a:t>4</a:t>
            </a:fld>
            <a:endParaRPr lang="en-US" smtClean="0"/>
          </a:p>
        </p:txBody>
      </p:sp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7D59CDD-329F-45EA-BE17-C2A7D1F22477}" type="slidenum">
              <a:rPr lang="en-US" smtClean="0"/>
              <a:pPr/>
              <a:t>5</a:t>
            </a:fld>
            <a:endParaRPr lang="en-US" smtClean="0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40E5079-7786-479B-A38D-8ACBFCC9A365}" type="slidenum">
              <a:rPr lang="en-US" smtClean="0"/>
              <a:pPr/>
              <a:t>6</a:t>
            </a:fld>
            <a:endParaRPr lang="en-US" smtClean="0"/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7BE1BE5-527C-4CF6-9499-62B631DAD828}" type="slidenum">
              <a:rPr lang="en-US" smtClean="0"/>
              <a:pPr/>
              <a:t>7</a:t>
            </a:fld>
            <a:endParaRPr lang="en-US" smtClean="0"/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186D4E8-592C-4A05-82A3-612F8D56A41B}" type="slidenum">
              <a:rPr lang="en-US" smtClean="0"/>
              <a:pPr/>
              <a:t>8</a:t>
            </a:fld>
            <a:endParaRPr lang="en-US" smtClean="0"/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1D31DCF-28D4-4B67-9A87-07FE5E2E741B}" type="slidenum">
              <a:rPr lang="en-US" smtClean="0"/>
              <a:pPr/>
              <a:t>9</a:t>
            </a:fld>
            <a:endParaRPr lang="en-US" smtClean="0"/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279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F067E1-5A2C-4B90-B929-3044549DBEC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613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997D52-3B8B-4E98-BEE4-4E9673DB17E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10439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A59821-FECF-45BF-AF90-C857900A7B7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3161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ED4BB5-B4F0-4BD9-B848-A96B8808A478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8189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D57798-D50E-432B-A157-9A517EA2BC59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6314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472A6B-5E66-412F-BF75-9A8A1CE1069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7468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04A90-3AB8-4F80-8C47-A87B2CE58A52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5978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79E170-1DB0-4B83-959B-20933655ED5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17399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F85F1B-37A3-483D-88BC-A0188680E2D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0068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D28ADA-009A-467E-B7E2-42086201647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82650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A8622C-CB97-4CAF-B37C-68BF8F707E4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0281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2D7A4E-26B0-40EC-8FAD-69C0790FC2B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79351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741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defRPr sz="1400">
                <a:latin typeface="Gill Sans MT"/>
                <a:sym typeface="Gill Sans M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41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defRPr sz="1400">
                <a:latin typeface="Gill Sans MT"/>
                <a:sym typeface="Gill Sans M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400">
                <a:latin typeface="Gill Sans MT"/>
                <a:sym typeface="Gill Sans MT"/>
              </a:defRPr>
            </a:lvl1pPr>
          </a:lstStyle>
          <a:p>
            <a:pPr>
              <a:defRPr/>
            </a:pPr>
            <a:fld id="{6D2370E7-1E64-4840-A880-529BDFF8D20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Gill Sans MT"/>
          <a:ea typeface="+mj-ea"/>
          <a:cs typeface="+mj-cs"/>
          <a:sym typeface="Gill Sans MT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Gill Sans MT"/>
          <a:ea typeface="+mn-ea"/>
          <a:cs typeface="+mn-cs"/>
          <a:sym typeface="Gill Sans MT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Gill Sans MT"/>
          <a:sym typeface="Gill Sans M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Gill Sans MT"/>
          <a:sym typeface="Gill Sans M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Gill Sans MT"/>
          <a:sym typeface="Gill Sans M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Gill Sans MT"/>
          <a:sym typeface="Gill Sans M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png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6994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098" t="3510" r="18051" b="10440"/>
          <a:stretch/>
        </p:blipFill>
        <p:spPr bwMode="auto">
          <a:xfrm>
            <a:off x="-76200" y="0"/>
            <a:ext cx="9601200" cy="6934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76200" y="76200"/>
            <a:ext cx="6172200" cy="3810000"/>
          </a:xfrm>
          <a:prstGeom prst="rect">
            <a:avLst/>
          </a:prstGeom>
        </p:spPr>
        <p:txBody>
          <a:bodyPr anchor="ctr"/>
          <a:lstStyle/>
          <a:p>
            <a:pPr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n-US" sz="6000" b="1" dirty="0" smtClean="0">
                <a:latin typeface="Gill Sans MT"/>
                <a:ea typeface="+mj-ea"/>
                <a:cs typeface="Arial" pitchFamily="34" charset="0"/>
                <a:sym typeface="Gill Sans MT"/>
              </a:rPr>
              <a:t>2013 </a:t>
            </a:r>
          </a:p>
          <a:p>
            <a:pPr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n-US" sz="6000" b="1" dirty="0" smtClean="0">
                <a:latin typeface="Gill Sans MT"/>
                <a:ea typeface="+mj-ea"/>
                <a:cs typeface="Arial" pitchFamily="34" charset="0"/>
                <a:sym typeface="Gill Sans MT"/>
              </a:rPr>
              <a:t>Commitment to Development </a:t>
            </a:r>
          </a:p>
          <a:p>
            <a:pPr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n-US" sz="6000" b="1" dirty="0" smtClean="0">
                <a:latin typeface="Gill Sans MT"/>
                <a:ea typeface="+mj-ea"/>
                <a:cs typeface="Arial" pitchFamily="34" charset="0"/>
                <a:sym typeface="Gill Sans MT"/>
              </a:rPr>
              <a:t>Index </a:t>
            </a:r>
            <a:endParaRPr lang="en-US" sz="6000" b="1" dirty="0">
              <a:latin typeface="Gill Sans MT"/>
              <a:ea typeface="+mj-ea"/>
              <a:cs typeface="Arial" pitchFamily="34" charset="0"/>
              <a:sym typeface="Gill Sans MT"/>
            </a:endParaRPr>
          </a:p>
        </p:txBody>
      </p:sp>
      <p:pic>
        <p:nvPicPr>
          <p:cNvPr id="2054" name="Picture 10" descr="CGD logo inverted b-w.JP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0" y="5562600"/>
            <a:ext cx="2360613" cy="110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4996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pPr eaLnBrk="1" hangingPunct="1"/>
            <a:r>
              <a:rPr lang="en-US" b="1" dirty="0" smtClean="0">
                <a:solidFill>
                  <a:schemeClr val="tx1"/>
                </a:solidFill>
                <a:latin typeface="Century Gothic" pitchFamily="34" charset="0"/>
              </a:rPr>
              <a:t>Migration</a:t>
            </a:r>
            <a:endParaRPr lang="en-US" b="1" dirty="0" smtClean="0">
              <a:solidFill>
                <a:schemeClr val="tx1"/>
              </a:solidFill>
              <a:latin typeface="Century Gothic" pitchFamily="34" charset="0"/>
              <a:sym typeface="Gill Sans MT"/>
            </a:endParaRPr>
          </a:p>
        </p:txBody>
      </p:sp>
      <p:pic>
        <p:nvPicPr>
          <p:cNvPr id="28685" name="Picture 1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447800"/>
            <a:ext cx="7950200" cy="5200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91700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34" name="Picture 9" descr="Environment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7625" y="-42863"/>
            <a:ext cx="6056313" cy="7013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8" name="Rectangle 10"/>
          <p:cNvSpPr>
            <a:spLocks noGrp="1" noChangeArrowheads="1"/>
          </p:cNvSpPr>
          <p:nvPr>
            <p:ph type="title"/>
          </p:nvPr>
        </p:nvSpPr>
        <p:spPr>
          <a:xfrm>
            <a:off x="6111875" y="163513"/>
            <a:ext cx="2989263" cy="1143000"/>
          </a:xfrm>
          <a:noFill/>
        </p:spPr>
        <p:txBody>
          <a:bodyPr/>
          <a:lstStyle/>
          <a:p>
            <a:pPr algn="l" eaLnBrk="1" hangingPunct="1"/>
            <a:r>
              <a:rPr lang="en-US" sz="3700" b="1" dirty="0" smtClean="0">
                <a:latin typeface="Century Gothic" pitchFamily="34" charset="0"/>
                <a:sym typeface="Gill Sans MT"/>
              </a:rPr>
              <a:t>Environment</a:t>
            </a:r>
          </a:p>
        </p:txBody>
      </p:sp>
      <p:sp>
        <p:nvSpPr>
          <p:cNvPr id="32779" name="Rectangle 11"/>
          <p:cNvSpPr>
            <a:spLocks noGrp="1" noChangeArrowheads="1"/>
          </p:cNvSpPr>
          <p:nvPr>
            <p:ph type="body" idx="1"/>
          </p:nvPr>
        </p:nvSpPr>
        <p:spPr>
          <a:xfrm>
            <a:off x="6103938" y="1163638"/>
            <a:ext cx="2927350" cy="5486400"/>
          </a:xfrm>
          <a:noFill/>
        </p:spPr>
        <p:txBody>
          <a:bodyPr/>
          <a:lstStyle/>
          <a:p>
            <a:pPr marL="3175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2800" dirty="0" smtClean="0">
                <a:latin typeface="Gill Sans MT"/>
                <a:sym typeface="Gill Sans MT"/>
              </a:rPr>
              <a:t>Greenhouse gas emissions</a:t>
            </a:r>
          </a:p>
          <a:p>
            <a:pPr marL="3175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2800" dirty="0" smtClean="0">
                <a:latin typeface="Gill Sans MT"/>
                <a:sym typeface="Gill Sans MT"/>
              </a:rPr>
              <a:t>Gas taxes </a:t>
            </a:r>
          </a:p>
          <a:p>
            <a:pPr marL="3175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2800" dirty="0" smtClean="0">
                <a:latin typeface="Gill Sans MT"/>
                <a:sym typeface="Gill Sans MT"/>
              </a:rPr>
              <a:t>Fishing subsidies</a:t>
            </a:r>
          </a:p>
          <a:p>
            <a:pPr marL="3175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2800" dirty="0" smtClean="0">
                <a:latin typeface="Gill Sans MT"/>
                <a:sym typeface="Gill Sans MT"/>
              </a:rPr>
              <a:t>Tropical timber imports </a:t>
            </a:r>
          </a:p>
          <a:p>
            <a:pPr marL="3175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2800" dirty="0" smtClean="0">
                <a:latin typeface="Gill Sans MT"/>
                <a:sym typeface="Gill Sans MT"/>
              </a:rPr>
              <a:t>More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7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7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27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27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27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77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77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9688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pPr eaLnBrk="1" hangingPunct="1"/>
            <a:r>
              <a:rPr lang="en-US" b="1" dirty="0" smtClean="0">
                <a:solidFill>
                  <a:schemeClr val="tx1"/>
                </a:solidFill>
                <a:latin typeface="Century Gothic" pitchFamily="34" charset="0"/>
              </a:rPr>
              <a:t>Environment</a:t>
            </a:r>
            <a:endParaRPr lang="en-US" b="1" dirty="0" smtClean="0">
              <a:solidFill>
                <a:schemeClr val="tx1"/>
              </a:solidFill>
              <a:latin typeface="Century Gothic" pitchFamily="34" charset="0"/>
              <a:sym typeface="Gill Sans MT"/>
            </a:endParaRPr>
          </a:p>
        </p:txBody>
      </p:sp>
      <p:pic>
        <p:nvPicPr>
          <p:cNvPr id="31758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447800"/>
            <a:ext cx="7950200" cy="5200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2086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506" name="Picture 9" descr="Security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2550" y="-139700"/>
            <a:ext cx="6483350" cy="7081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8" name="Rectangle 10"/>
          <p:cNvSpPr>
            <a:spLocks noGrp="1" noChangeArrowheads="1"/>
          </p:cNvSpPr>
          <p:nvPr>
            <p:ph type="title"/>
          </p:nvPr>
        </p:nvSpPr>
        <p:spPr>
          <a:xfrm>
            <a:off x="6432550" y="206375"/>
            <a:ext cx="2571750" cy="992188"/>
          </a:xfrm>
          <a:noFill/>
        </p:spPr>
        <p:txBody>
          <a:bodyPr/>
          <a:lstStyle/>
          <a:p>
            <a:pPr algn="l" eaLnBrk="1" hangingPunct="1"/>
            <a:r>
              <a:rPr lang="en-US" b="1" dirty="0" smtClean="0">
                <a:latin typeface="Century Gothic" pitchFamily="34" charset="0"/>
                <a:sym typeface="Gill Sans MT"/>
              </a:rPr>
              <a:t>Security</a:t>
            </a:r>
          </a:p>
        </p:txBody>
      </p:sp>
      <p:sp>
        <p:nvSpPr>
          <p:cNvPr id="37899" name="Rectangle 11"/>
          <p:cNvSpPr>
            <a:spLocks noGrp="1" noChangeArrowheads="1"/>
          </p:cNvSpPr>
          <p:nvPr>
            <p:ph type="body" idx="1"/>
          </p:nvPr>
        </p:nvSpPr>
        <p:spPr>
          <a:xfrm>
            <a:off x="6400800" y="1150937"/>
            <a:ext cx="2819400" cy="5859463"/>
          </a:xfrm>
        </p:spPr>
        <p:txBody>
          <a:bodyPr/>
          <a:lstStyle/>
          <a:p>
            <a:pPr marL="61913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  <a:defRPr/>
            </a:pPr>
            <a:r>
              <a:rPr lang="en-US" sz="2600" dirty="0" smtClean="0">
                <a:sym typeface="Gill Sans MT"/>
              </a:rPr>
              <a:t>$ + personnel to U.N. peacekeeping</a:t>
            </a:r>
          </a:p>
          <a:p>
            <a:pPr marL="61913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  <a:defRPr/>
            </a:pPr>
            <a:r>
              <a:rPr lang="en-US" sz="2600" dirty="0" smtClean="0">
                <a:sym typeface="Gill Sans MT"/>
              </a:rPr>
              <a:t>Personnel to </a:t>
            </a:r>
            <a:br>
              <a:rPr lang="en-US" sz="2600" dirty="0" smtClean="0">
                <a:sym typeface="Gill Sans MT"/>
              </a:rPr>
            </a:br>
            <a:r>
              <a:rPr lang="en-US" sz="2600" dirty="0" smtClean="0">
                <a:sym typeface="Gill Sans MT"/>
              </a:rPr>
              <a:t>non-U.N. </a:t>
            </a:r>
          </a:p>
          <a:p>
            <a:pPr marL="61913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  <a:defRPr/>
            </a:pPr>
            <a:r>
              <a:rPr lang="en-US" sz="2600" dirty="0" smtClean="0">
                <a:sym typeface="Gill Sans MT"/>
              </a:rPr>
              <a:t>Arms exports</a:t>
            </a:r>
          </a:p>
          <a:p>
            <a:pPr marL="61913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  <a:defRPr/>
            </a:pPr>
            <a:r>
              <a:rPr lang="en-US" sz="2600" dirty="0" smtClean="0">
                <a:sym typeface="Gill Sans MT"/>
              </a:rPr>
              <a:t>Protecting sea lanes</a:t>
            </a:r>
          </a:p>
          <a:p>
            <a:pPr marL="61913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  <a:defRPr/>
            </a:pPr>
            <a:r>
              <a:rPr lang="en-US" sz="2600" dirty="0" smtClean="0"/>
              <a:t>International security treaties</a:t>
            </a:r>
            <a:r>
              <a:rPr lang="en-US" sz="2600" dirty="0" smtClean="0">
                <a:sym typeface="Gill Sans MT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157562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8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78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78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78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78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789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898" grpId="0"/>
      <p:bldP spid="37899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15173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pPr eaLnBrk="1" hangingPunct="1"/>
            <a:r>
              <a:rPr lang="en-US" b="1" dirty="0" smtClean="0">
                <a:solidFill>
                  <a:schemeClr val="tx1"/>
                </a:solidFill>
                <a:latin typeface="Century Gothic" pitchFamily="34" charset="0"/>
              </a:rPr>
              <a:t>Security</a:t>
            </a:r>
            <a:endParaRPr lang="en-US" b="1" dirty="0" smtClean="0">
              <a:solidFill>
                <a:schemeClr val="tx1"/>
              </a:solidFill>
              <a:latin typeface="Century Gothic" pitchFamily="34" charset="0"/>
              <a:sym typeface="Gill Sans MT"/>
            </a:endParaRPr>
          </a:p>
        </p:txBody>
      </p:sp>
      <p:pic>
        <p:nvPicPr>
          <p:cNvPr id="34829" name="Picture 1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447800"/>
            <a:ext cx="7950200" cy="5200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10327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578" name="Picture 7" descr="Technology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8113" y="-76200"/>
            <a:ext cx="6553201" cy="705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68" name="Rectangle 8"/>
          <p:cNvSpPr>
            <a:spLocks noGrp="1" noChangeArrowheads="1"/>
          </p:cNvSpPr>
          <p:nvPr>
            <p:ph type="title"/>
          </p:nvPr>
        </p:nvSpPr>
        <p:spPr>
          <a:xfrm>
            <a:off x="6465888" y="204788"/>
            <a:ext cx="2665412" cy="1054100"/>
          </a:xfrm>
          <a:noFill/>
        </p:spPr>
        <p:txBody>
          <a:bodyPr/>
          <a:lstStyle/>
          <a:p>
            <a:pPr algn="l" eaLnBrk="1" hangingPunct="1"/>
            <a:r>
              <a:rPr lang="en-US" sz="3400" b="1" dirty="0" smtClean="0">
                <a:latin typeface="Century Gothic" pitchFamily="34" charset="0"/>
                <a:sym typeface="Gill Sans MT"/>
              </a:rPr>
              <a:t>Technology</a:t>
            </a:r>
          </a:p>
        </p:txBody>
      </p:sp>
      <p:sp>
        <p:nvSpPr>
          <p:cNvPr id="40969" name="Rectangle 9"/>
          <p:cNvSpPr>
            <a:spLocks noGrp="1" noChangeArrowheads="1"/>
          </p:cNvSpPr>
          <p:nvPr>
            <p:ph type="body" idx="1"/>
          </p:nvPr>
        </p:nvSpPr>
        <p:spPr>
          <a:xfrm>
            <a:off x="6505575" y="1281113"/>
            <a:ext cx="2755900" cy="5430837"/>
          </a:xfrm>
          <a:noFill/>
        </p:spPr>
        <p:txBody>
          <a:bodyPr/>
          <a:lstStyle/>
          <a:p>
            <a:pPr marL="3175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2800" dirty="0" smtClean="0">
                <a:latin typeface="Gill Sans MT"/>
                <a:sym typeface="Gill Sans MT"/>
              </a:rPr>
              <a:t>Public R&amp;D spending</a:t>
            </a:r>
          </a:p>
          <a:p>
            <a:pPr marL="3175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2800" dirty="0" smtClean="0">
                <a:latin typeface="Gill Sans MT"/>
                <a:sym typeface="Gill Sans MT"/>
              </a:rPr>
              <a:t>Tax breaks for R&amp;D</a:t>
            </a:r>
            <a:r>
              <a:rPr lang="en-US" sz="2800" i="1" dirty="0" smtClean="0">
                <a:latin typeface="Gill Sans MT"/>
                <a:sym typeface="Gill Sans MT"/>
              </a:rPr>
              <a:t> </a:t>
            </a:r>
          </a:p>
          <a:p>
            <a:pPr marL="3175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2800" dirty="0" smtClean="0">
                <a:latin typeface="Gill Sans MT"/>
                <a:sym typeface="Gill Sans MT"/>
              </a:rPr>
              <a:t>Limiting intellectual property right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9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09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096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96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968" grpId="0"/>
      <p:bldP spid="40969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82903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pPr eaLnBrk="1" hangingPunct="1"/>
            <a:r>
              <a:rPr lang="en-US" b="1" dirty="0" smtClean="0">
                <a:solidFill>
                  <a:schemeClr val="tx1"/>
                </a:solidFill>
                <a:latin typeface="Century Gothic" pitchFamily="34" charset="0"/>
              </a:rPr>
              <a:t>Technology</a:t>
            </a:r>
            <a:endParaRPr lang="en-US" b="1" dirty="0" smtClean="0">
              <a:solidFill>
                <a:schemeClr val="tx1"/>
              </a:solidFill>
              <a:latin typeface="Century Gothic" pitchFamily="34" charset="0"/>
              <a:sym typeface="Gill Sans MT"/>
            </a:endParaRPr>
          </a:p>
        </p:txBody>
      </p:sp>
      <p:pic>
        <p:nvPicPr>
          <p:cNvPr id="37904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295400"/>
            <a:ext cx="7999413" cy="528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45535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28600"/>
            <a:ext cx="8153400" cy="762000"/>
          </a:xfrm>
        </p:spPr>
        <p:txBody>
          <a:bodyPr/>
          <a:lstStyle/>
          <a:p>
            <a:pPr eaLnBrk="1" hangingPunct="1"/>
            <a:r>
              <a:rPr lang="en-US" sz="4800" b="1" dirty="0" smtClean="0">
                <a:solidFill>
                  <a:schemeClr val="tx1"/>
                </a:solidFill>
                <a:latin typeface="Century Gothic" pitchFamily="34" charset="0"/>
                <a:sym typeface="Gill Sans MT"/>
              </a:rPr>
              <a:t>Overall</a:t>
            </a:r>
          </a:p>
        </p:txBody>
      </p:sp>
      <p:pic>
        <p:nvPicPr>
          <p:cNvPr id="39962" name="Picture 2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447800"/>
            <a:ext cx="7907337" cy="5207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909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/>
          <a:lstStyle/>
          <a:p>
            <a:pPr eaLnBrk="1" hangingPunct="1"/>
            <a:r>
              <a:rPr lang="en-US" b="1" dirty="0" smtClean="0">
                <a:solidFill>
                  <a:schemeClr val="tx1"/>
                </a:solidFill>
                <a:latin typeface="Century Gothic" pitchFamily="34" charset="0"/>
              </a:rPr>
              <a:t>Change, 2003-13</a:t>
            </a:r>
            <a:endParaRPr lang="en-US" b="1" dirty="0" smtClean="0">
              <a:solidFill>
                <a:schemeClr val="tx1"/>
              </a:solidFill>
              <a:latin typeface="Century Gothic" pitchFamily="34" charset="0"/>
              <a:sym typeface="Gill Sans MT"/>
            </a:endParaRPr>
          </a:p>
        </p:txBody>
      </p:sp>
      <p:pic>
        <p:nvPicPr>
          <p:cNvPr id="44048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200150"/>
            <a:ext cx="7437437" cy="5657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9420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en-US" smtClean="0">
              <a:latin typeface="Gill Sans MT"/>
              <a:sym typeface="Gill Sans MT"/>
            </a:endParaRPr>
          </a:p>
        </p:txBody>
      </p:sp>
      <p:pic>
        <p:nvPicPr>
          <p:cNvPr id="57347" name="Picture 3" descr="untitled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224963" cy="6686550"/>
          </a:xfrm>
          <a:noFill/>
        </p:spPr>
      </p:pic>
      <p:sp>
        <p:nvSpPr>
          <p:cNvPr id="28676" name="Text Box 5"/>
          <p:cNvSpPr txBox="1">
            <a:spLocks noChangeArrowheads="1"/>
          </p:cNvSpPr>
          <p:nvPr/>
        </p:nvSpPr>
        <p:spPr bwMode="auto">
          <a:xfrm>
            <a:off x="7239000" y="6172200"/>
            <a:ext cx="2362200" cy="476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Bef>
                <a:spcPct val="50000"/>
              </a:spcBef>
            </a:pPr>
            <a:r>
              <a:rPr lang="en-US" sz="1400" b="1">
                <a:solidFill>
                  <a:schemeClr val="bg1"/>
                </a:solidFill>
                <a:latin typeface="Gill Sans MT"/>
                <a:sym typeface="Gill Sans MT"/>
              </a:rPr>
              <a:t>Sources: Jörg Faust,</a:t>
            </a:r>
            <a:br>
              <a:rPr lang="en-US" sz="1400" b="1">
                <a:solidFill>
                  <a:schemeClr val="bg1"/>
                </a:solidFill>
                <a:latin typeface="Gill Sans MT"/>
                <a:sym typeface="Gill Sans MT"/>
              </a:rPr>
            </a:br>
            <a:r>
              <a:rPr lang="en-US" sz="1400" b="1" i="1">
                <a:solidFill>
                  <a:schemeClr val="bg1"/>
                </a:solidFill>
                <a:latin typeface="Gill Sans MT"/>
                <a:sym typeface="Gill Sans MT"/>
              </a:rPr>
              <a:t>Foreign Policy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7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67268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b="1" dirty="0" smtClean="0">
                <a:solidFill>
                  <a:schemeClr val="tx1"/>
                </a:solidFill>
                <a:latin typeface="Century Gothic" pitchFamily="34" charset="0"/>
                <a:sym typeface="Gill Sans MT"/>
              </a:rPr>
              <a:t>Components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sz="3600" dirty="0" smtClean="0">
                <a:latin typeface="Gill Sans MT"/>
                <a:sym typeface="Gill Sans MT"/>
              </a:rPr>
              <a:t>Aid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sz="3600" dirty="0" smtClean="0">
                <a:latin typeface="Gill Sans MT"/>
                <a:sym typeface="Gill Sans MT"/>
              </a:rPr>
              <a:t>Trade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sz="3600" dirty="0" smtClean="0">
                <a:latin typeface="Gill Sans MT"/>
                <a:sym typeface="Gill Sans MT"/>
              </a:rPr>
              <a:t>Finance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sz="3600" dirty="0" smtClean="0">
                <a:latin typeface="Gill Sans MT"/>
                <a:sym typeface="Gill Sans MT"/>
              </a:rPr>
              <a:t>Migration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sz="3600" dirty="0" smtClean="0">
                <a:latin typeface="Gill Sans MT"/>
                <a:sym typeface="Gill Sans MT"/>
              </a:rPr>
              <a:t>Environment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sz="3600" dirty="0" smtClean="0">
                <a:latin typeface="Gill Sans MT"/>
                <a:sym typeface="Gill Sans MT"/>
              </a:rPr>
              <a:t>Security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en-US" sz="3600" dirty="0" smtClean="0">
                <a:latin typeface="Gill Sans MT"/>
                <a:sym typeface="Gill Sans MT"/>
              </a:rPr>
              <a:t>Technology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en-US" sz="2800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4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4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4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4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4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43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84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34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6969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pPr eaLnBrk="1" hangingPunct="1"/>
            <a:r>
              <a:rPr lang="en-US" b="1" dirty="0" smtClean="0">
                <a:solidFill>
                  <a:schemeClr val="tx1"/>
                </a:solidFill>
                <a:latin typeface="Century Gothic" pitchFamily="34" charset="0"/>
              </a:rPr>
              <a:t>Sub-Saharan Africa</a:t>
            </a:r>
            <a:endParaRPr lang="en-US" b="1" dirty="0" smtClean="0">
              <a:solidFill>
                <a:schemeClr val="tx1"/>
              </a:solidFill>
              <a:latin typeface="Century Gothic" pitchFamily="34" charset="0"/>
              <a:sym typeface="Gill Sans MT"/>
            </a:endParaRPr>
          </a:p>
        </p:txBody>
      </p:sp>
      <p:pic>
        <p:nvPicPr>
          <p:cNvPr id="5939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447800"/>
            <a:ext cx="7913687" cy="5133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43834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6969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pPr eaLnBrk="1" hangingPunct="1"/>
            <a:r>
              <a:rPr lang="en-US" b="1" dirty="0" smtClean="0">
                <a:solidFill>
                  <a:schemeClr val="tx1"/>
                </a:solidFill>
                <a:latin typeface="Century Gothic" pitchFamily="34" charset="0"/>
              </a:rPr>
              <a:t>Middle East &amp; North Africa</a:t>
            </a:r>
            <a:endParaRPr lang="en-US" b="1" dirty="0" smtClean="0">
              <a:solidFill>
                <a:schemeClr val="tx1"/>
              </a:solidFill>
              <a:latin typeface="Century Gothic" pitchFamily="34" charset="0"/>
              <a:sym typeface="Gill Sans MT"/>
            </a:endParaRPr>
          </a:p>
        </p:txBody>
      </p:sp>
      <p:pic>
        <p:nvPicPr>
          <p:cNvPr id="60421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1447800"/>
            <a:ext cx="7913687" cy="5133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43834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6969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pPr eaLnBrk="1" hangingPunct="1"/>
            <a:r>
              <a:rPr lang="en-US" b="1" dirty="0" smtClean="0">
                <a:solidFill>
                  <a:schemeClr val="tx1"/>
                </a:solidFill>
                <a:latin typeface="Century Gothic" pitchFamily="34" charset="0"/>
              </a:rPr>
              <a:t>Europe and Central Asia</a:t>
            </a:r>
            <a:endParaRPr lang="en-US" b="1" dirty="0" smtClean="0">
              <a:solidFill>
                <a:schemeClr val="tx1"/>
              </a:solidFill>
              <a:latin typeface="Century Gothic" pitchFamily="34" charset="0"/>
              <a:sym typeface="Gill Sans MT"/>
            </a:endParaRPr>
          </a:p>
        </p:txBody>
      </p:sp>
      <p:pic>
        <p:nvPicPr>
          <p:cNvPr id="61445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447800"/>
            <a:ext cx="7913687" cy="5133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43834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5978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pPr eaLnBrk="1" hangingPunct="1"/>
            <a:r>
              <a:rPr lang="en-US" b="1" dirty="0" smtClean="0">
                <a:solidFill>
                  <a:schemeClr val="tx1"/>
                </a:solidFill>
                <a:latin typeface="Century Gothic" pitchFamily="34" charset="0"/>
              </a:rPr>
              <a:t>South Asia</a:t>
            </a:r>
            <a:endParaRPr lang="en-US" b="1" dirty="0" smtClean="0">
              <a:solidFill>
                <a:schemeClr val="tx1"/>
              </a:solidFill>
              <a:latin typeface="Century Gothic" pitchFamily="34" charset="0"/>
              <a:sym typeface="Gill Sans MT"/>
            </a:endParaRPr>
          </a:p>
        </p:txBody>
      </p:sp>
      <p:pic>
        <p:nvPicPr>
          <p:cNvPr id="62469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371600"/>
            <a:ext cx="7913687" cy="5133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14104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195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pPr eaLnBrk="1" hangingPunct="1"/>
            <a:r>
              <a:rPr lang="en-US" b="1" dirty="0" smtClean="0">
                <a:solidFill>
                  <a:schemeClr val="tx1"/>
                </a:solidFill>
                <a:latin typeface="Century Gothic" pitchFamily="34" charset="0"/>
              </a:rPr>
              <a:t>East Asia &amp; Pacific</a:t>
            </a:r>
            <a:endParaRPr lang="en-US" b="1" dirty="0" smtClean="0">
              <a:solidFill>
                <a:schemeClr val="tx1"/>
              </a:solidFill>
              <a:latin typeface="Century Gothic" pitchFamily="34" charset="0"/>
              <a:sym typeface="Gill Sans MT"/>
            </a:endParaRPr>
          </a:p>
        </p:txBody>
      </p:sp>
      <p:pic>
        <p:nvPicPr>
          <p:cNvPr id="49170" name="Picture 1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371600"/>
            <a:ext cx="7913687" cy="5133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66808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pPr eaLnBrk="1" hangingPunct="1"/>
            <a:r>
              <a:rPr lang="en-US" b="1" dirty="0" smtClean="0">
                <a:solidFill>
                  <a:schemeClr val="tx1"/>
                </a:solidFill>
                <a:latin typeface="Century Gothic" pitchFamily="34" charset="0"/>
              </a:rPr>
              <a:t>Latin America &amp; Caribbean</a:t>
            </a:r>
            <a:endParaRPr lang="en-US" b="1" dirty="0" smtClean="0">
              <a:solidFill>
                <a:schemeClr val="tx1"/>
              </a:solidFill>
              <a:latin typeface="Century Gothic" pitchFamily="34" charset="0"/>
              <a:sym typeface="Gill Sans MT"/>
            </a:endParaRPr>
          </a:p>
        </p:txBody>
      </p:sp>
      <p:pic>
        <p:nvPicPr>
          <p:cNvPr id="63494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447800"/>
            <a:ext cx="7913687" cy="5133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912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77159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533400" y="306388"/>
            <a:ext cx="8147050" cy="684212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n-US" sz="4400" b="1" dirty="0">
                <a:solidFill>
                  <a:schemeClr val="bg1"/>
                </a:solidFill>
                <a:latin typeface="Century Gothic" pitchFamily="34" charset="0"/>
                <a:ea typeface="+mj-ea"/>
                <a:cs typeface="Arial" pitchFamily="34" charset="0"/>
                <a:sym typeface="Gill Sans MT"/>
              </a:rPr>
              <a:t>cgdev.org/cdi</a:t>
            </a:r>
          </a:p>
        </p:txBody>
      </p:sp>
      <p:pic>
        <p:nvPicPr>
          <p:cNvPr id="51204" name="Picture 4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04" t="41523" r="18719" b="25090"/>
          <a:stretch/>
        </p:blipFill>
        <p:spPr bwMode="auto">
          <a:xfrm>
            <a:off x="228600" y="1210733"/>
            <a:ext cx="8678333" cy="5342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49488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062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28600"/>
            <a:ext cx="8153400" cy="762000"/>
          </a:xfrm>
        </p:spPr>
        <p:txBody>
          <a:bodyPr/>
          <a:lstStyle/>
          <a:p>
            <a:pPr eaLnBrk="1" hangingPunct="1"/>
            <a:r>
              <a:rPr lang="en-US" sz="4800" b="1" dirty="0" smtClean="0">
                <a:solidFill>
                  <a:schemeClr val="tx1"/>
                </a:solidFill>
                <a:latin typeface="Century Gothic" pitchFamily="34" charset="0"/>
                <a:sym typeface="Gill Sans MT"/>
              </a:rPr>
              <a:t>Overall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0760315"/>
              </p:ext>
            </p:extLst>
          </p:nvPr>
        </p:nvGraphicFramePr>
        <p:xfrm>
          <a:off x="-2" y="1066800"/>
          <a:ext cx="9144003" cy="5509933"/>
        </p:xfrm>
        <a:graphic>
          <a:graphicData uri="http://schemas.openxmlformats.org/drawingml/2006/table">
            <a:tbl>
              <a:tblPr/>
              <a:tblGrid>
                <a:gridCol w="510431"/>
                <a:gridCol w="1089771"/>
                <a:gridCol w="762000"/>
                <a:gridCol w="838200"/>
                <a:gridCol w="838200"/>
                <a:gridCol w="838200"/>
                <a:gridCol w="942109"/>
                <a:gridCol w="831273"/>
                <a:gridCol w="831273"/>
                <a:gridCol w="831273"/>
                <a:gridCol w="831273"/>
              </a:tblGrid>
              <a:tr h="3731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Rank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Country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Aid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Trade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Finance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Migration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Environment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Security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Technology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Overall (Average)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Change, 2003-201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2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Australia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+0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0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Austria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+0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0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Belgium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+0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3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Canada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–0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4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Czech Republic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N/A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Denmark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1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–0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Finland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+0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7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France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+0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3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Germany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+0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1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Greece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+0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2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Hungary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8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N/A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Ireland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8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+0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8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Italy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+0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6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Japan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+0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Luxembourg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1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N/A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Netherlands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9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–0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9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New Zealand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8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–0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Norway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0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9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+0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3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Poland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0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N/A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3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Portugal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–1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4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Slovakia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0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0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8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N/A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6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South Korea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-1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N/A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6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Spain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+0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Sweden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2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9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0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–0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9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Switzerland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+0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United Kingdom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9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4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2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8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+0.5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14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9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United States</a:t>
                      </a:r>
                    </a:p>
                  </a:txBody>
                  <a:tcPr marL="7371" marR="7371" marT="7371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0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1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3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7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+0.6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379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457200"/>
            <a:ext cx="8153400" cy="334963"/>
          </a:xfrm>
        </p:spPr>
        <p:txBody>
          <a:bodyPr/>
          <a:lstStyle/>
          <a:p>
            <a:pPr eaLnBrk="1" hangingPunct="1"/>
            <a:r>
              <a:rPr lang="en-US" sz="4800" b="1" dirty="0" smtClean="0">
                <a:solidFill>
                  <a:schemeClr val="tx1"/>
                </a:solidFill>
                <a:latin typeface="Century Gothic" pitchFamily="34" charset="0"/>
                <a:sym typeface="Gill Sans MT"/>
              </a:rPr>
              <a:t>Overall (EU)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4711678"/>
              </p:ext>
            </p:extLst>
          </p:nvPr>
        </p:nvGraphicFramePr>
        <p:xfrm>
          <a:off x="152400" y="1828800"/>
          <a:ext cx="8763000" cy="2209798"/>
        </p:xfrm>
        <a:graphic>
          <a:graphicData uri="http://schemas.openxmlformats.org/drawingml/2006/table">
            <a:tbl>
              <a:tblPr/>
              <a:tblGrid>
                <a:gridCol w="538079"/>
                <a:gridCol w="1148800"/>
                <a:gridCol w="803275"/>
                <a:gridCol w="883602"/>
                <a:gridCol w="883602"/>
                <a:gridCol w="883602"/>
                <a:gridCol w="993140"/>
                <a:gridCol w="876300"/>
                <a:gridCol w="876300"/>
                <a:gridCol w="876300"/>
              </a:tblGrid>
              <a:tr h="3917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Rank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Country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Aid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Trade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Finance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Migration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Environment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Security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Technology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Overall (Average)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Norway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9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New Zealand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8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Australia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Canada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EU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United States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Switzerland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8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Japan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8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South Korea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-1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966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76837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66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6122988" y="1295400"/>
            <a:ext cx="3249612" cy="5392738"/>
          </a:xfrm>
          <a:noFill/>
        </p:spPr>
        <p:txBody>
          <a:bodyPr/>
          <a:lstStyle/>
          <a:p>
            <a:pPr marL="0" indent="0" eaLnBrk="1" hangingPunct="1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3000" dirty="0" smtClean="0">
                <a:latin typeface="Gill Sans MT"/>
                <a:sym typeface="Gill Sans MT"/>
              </a:rPr>
              <a:t>Quantity, net of debt payments</a:t>
            </a:r>
          </a:p>
          <a:p>
            <a:pPr marL="0" indent="0" eaLnBrk="1" hangingPunct="1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3000" dirty="0" smtClean="0">
                <a:latin typeface="Gill Sans MT"/>
                <a:sym typeface="Gill Sans MT"/>
              </a:rPr>
              <a:t>Tying</a:t>
            </a:r>
          </a:p>
          <a:p>
            <a:pPr marL="0" indent="0" eaLnBrk="1" hangingPunct="1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3000" dirty="0" smtClean="0">
                <a:latin typeface="Gill Sans MT"/>
                <a:sym typeface="Gill Sans MT"/>
              </a:rPr>
              <a:t>Selectivity</a:t>
            </a:r>
          </a:p>
          <a:p>
            <a:pPr marL="0" indent="0" eaLnBrk="1" hangingPunct="1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3000" dirty="0" smtClean="0">
                <a:latin typeface="Gill Sans MT"/>
                <a:sym typeface="Gill Sans MT"/>
              </a:rPr>
              <a:t>Project proliferation</a:t>
            </a:r>
          </a:p>
          <a:p>
            <a:pPr marL="0" indent="0" eaLnBrk="1" hangingPunct="1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3000" dirty="0" smtClean="0">
                <a:latin typeface="Gill Sans MT"/>
                <a:sym typeface="Gill Sans MT"/>
              </a:rPr>
              <a:t>Tax breaks for charity</a:t>
            </a:r>
          </a:p>
          <a:p>
            <a:pPr marL="0" indent="0" eaLnBrk="1" hangingPunct="1">
              <a:lnSpc>
                <a:spcPct val="90000"/>
              </a:lnSpc>
              <a:buFontTx/>
              <a:buNone/>
            </a:pPr>
            <a:endParaRPr lang="en-US" sz="3400" dirty="0" smtClean="0"/>
          </a:p>
        </p:txBody>
      </p:sp>
      <p:sp>
        <p:nvSpPr>
          <p:cNvPr id="19467" name="Rectangle 11"/>
          <p:cNvSpPr>
            <a:spLocks noGrp="1" noChangeArrowheads="1"/>
          </p:cNvSpPr>
          <p:nvPr>
            <p:ph type="title"/>
          </p:nvPr>
        </p:nvSpPr>
        <p:spPr>
          <a:xfrm>
            <a:off x="6092825" y="-260350"/>
            <a:ext cx="2886075" cy="1516063"/>
          </a:xfrm>
          <a:noFill/>
        </p:spPr>
        <p:txBody>
          <a:bodyPr/>
          <a:lstStyle/>
          <a:p>
            <a:pPr algn="l" eaLnBrk="1" hangingPunct="1"/>
            <a:r>
              <a:rPr lang="en-US" sz="6000" b="1" dirty="0" smtClean="0">
                <a:solidFill>
                  <a:schemeClr val="tx1"/>
                </a:solidFill>
                <a:latin typeface="Century Gothic" pitchFamily="34" charset="0"/>
                <a:sym typeface="Gill Sans MT"/>
              </a:rPr>
              <a:t>Aid</a:t>
            </a:r>
          </a:p>
        </p:txBody>
      </p:sp>
      <p:pic>
        <p:nvPicPr>
          <p:cNvPr id="5124" name="Picture 12" descr="untitled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6688" y="-117475"/>
            <a:ext cx="6186488" cy="7097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4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4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46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46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46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46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467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379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457200"/>
            <a:ext cx="8153400" cy="334963"/>
          </a:xfrm>
        </p:spPr>
        <p:txBody>
          <a:bodyPr/>
          <a:lstStyle/>
          <a:p>
            <a:pPr eaLnBrk="1" hangingPunct="1"/>
            <a:r>
              <a:rPr lang="en-US" sz="4800" b="1" dirty="0" smtClean="0">
                <a:solidFill>
                  <a:schemeClr val="tx1"/>
                </a:solidFill>
                <a:latin typeface="Century Gothic" pitchFamily="34" charset="0"/>
                <a:sym typeface="Gill Sans MT"/>
              </a:rPr>
              <a:t>Overall (Europe)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7525955"/>
              </p:ext>
            </p:extLst>
          </p:nvPr>
        </p:nvGraphicFramePr>
        <p:xfrm>
          <a:off x="152400" y="1828800"/>
          <a:ext cx="8763000" cy="1805792"/>
        </p:xfrm>
        <a:graphic>
          <a:graphicData uri="http://schemas.openxmlformats.org/drawingml/2006/table">
            <a:tbl>
              <a:tblPr/>
              <a:tblGrid>
                <a:gridCol w="538079"/>
                <a:gridCol w="1148800"/>
                <a:gridCol w="803275"/>
                <a:gridCol w="883602"/>
                <a:gridCol w="883602"/>
                <a:gridCol w="883602"/>
                <a:gridCol w="993140"/>
                <a:gridCol w="876300"/>
                <a:gridCol w="876300"/>
                <a:gridCol w="876300"/>
              </a:tblGrid>
              <a:tr h="39177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Rank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Country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Aid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Trade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Finance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Migration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Environment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Security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Technology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Overall (Average)</a:t>
                      </a:r>
                    </a:p>
                  </a:txBody>
                  <a:tcPr marL="7371" marR="7371" marT="737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New Zealand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8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Australia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Canada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Europe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United States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7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Japan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2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20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South Korea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-1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5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4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1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6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Gill Sans MT"/>
                        </a:rPr>
                        <a:t>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5966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68350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914" name="Rectangle 3"/>
          <p:cNvSpPr>
            <a:spLocks noChangeArrowheads="1"/>
          </p:cNvSpPr>
          <p:nvPr/>
        </p:nvSpPr>
        <p:spPr bwMode="auto">
          <a:xfrm>
            <a:off x="0" y="152400"/>
            <a:ext cx="9144000" cy="10334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/>
            <a:r>
              <a:rPr lang="en-US" dirty="0">
                <a:latin typeface="Gill Sans MT"/>
                <a:sym typeface="Gill Sans MT"/>
              </a:rPr>
              <a:t>Average rank change when one component weighted more</a:t>
            </a: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1993986"/>
              </p:ext>
            </p:extLst>
          </p:nvPr>
        </p:nvGraphicFramePr>
        <p:xfrm>
          <a:off x="533400" y="1411908"/>
          <a:ext cx="7848600" cy="54721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347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pPr eaLnBrk="1" hangingPunct="1"/>
            <a:r>
              <a:rPr lang="en-US" b="1" dirty="0" smtClean="0">
                <a:solidFill>
                  <a:schemeClr val="tx1"/>
                </a:solidFill>
                <a:latin typeface="Century Gothic" pitchFamily="34" charset="0"/>
              </a:rPr>
              <a:t>Aid</a:t>
            </a:r>
            <a:endParaRPr lang="en-US" b="1" dirty="0" smtClean="0">
              <a:solidFill>
                <a:schemeClr val="tx1"/>
              </a:solidFill>
              <a:latin typeface="Century Gothic" pitchFamily="34" charset="0"/>
              <a:sym typeface="Gill Sans MT"/>
            </a:endParaRPr>
          </a:p>
        </p:txBody>
      </p:sp>
      <p:pic>
        <p:nvPicPr>
          <p:cNvPr id="18444" name="Picture 1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371600"/>
            <a:ext cx="8609013" cy="525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86936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4" name="Picture 1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5800" y="-90488"/>
            <a:ext cx="7010400" cy="7126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42" name="Rectangle 14"/>
          <p:cNvSpPr>
            <a:spLocks noGrp="1" noChangeArrowheads="1"/>
          </p:cNvSpPr>
          <p:nvPr>
            <p:ph type="title"/>
          </p:nvPr>
        </p:nvSpPr>
        <p:spPr>
          <a:xfrm>
            <a:off x="6376988" y="147638"/>
            <a:ext cx="2590800" cy="1371600"/>
          </a:xfrm>
          <a:noFill/>
        </p:spPr>
        <p:txBody>
          <a:bodyPr/>
          <a:lstStyle/>
          <a:p>
            <a:pPr algn="l" eaLnBrk="1" hangingPunct="1"/>
            <a:r>
              <a:rPr lang="en-US" sz="6000" b="1" dirty="0" smtClean="0">
                <a:latin typeface="Century Gothic" pitchFamily="34" charset="0"/>
                <a:sym typeface="Gill Sans MT"/>
              </a:rPr>
              <a:t>Trade</a:t>
            </a:r>
          </a:p>
        </p:txBody>
      </p:sp>
      <p:sp>
        <p:nvSpPr>
          <p:cNvPr id="22543" name="Rectangle 15"/>
          <p:cNvSpPr>
            <a:spLocks noGrp="1" noChangeArrowheads="1"/>
          </p:cNvSpPr>
          <p:nvPr>
            <p:ph type="body" idx="1"/>
          </p:nvPr>
        </p:nvSpPr>
        <p:spPr>
          <a:xfrm>
            <a:off x="6391275" y="1600200"/>
            <a:ext cx="2828925" cy="5330825"/>
          </a:xfrm>
          <a:noFill/>
        </p:spPr>
        <p:txBody>
          <a:bodyPr/>
          <a:lstStyle/>
          <a:p>
            <a:pPr marL="6350" indent="7938" eaLnBrk="1" hangingPunct="1">
              <a:lnSpc>
                <a:spcPct val="130000"/>
              </a:lnSpc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3000" dirty="0" smtClean="0">
                <a:latin typeface="Gill Sans MT"/>
                <a:sym typeface="Gill Sans MT"/>
              </a:rPr>
              <a:t>Tariffs</a:t>
            </a:r>
          </a:p>
          <a:p>
            <a:pPr marL="6350" indent="7938" eaLnBrk="1" hangingPunct="1">
              <a:lnSpc>
                <a:spcPct val="130000"/>
              </a:lnSpc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3000" dirty="0" smtClean="0">
                <a:latin typeface="Gill Sans MT"/>
                <a:sym typeface="Gill Sans MT"/>
              </a:rPr>
              <a:t>Quotas</a:t>
            </a:r>
          </a:p>
          <a:p>
            <a:pPr marL="6350" indent="7938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3000" dirty="0" smtClean="0">
                <a:latin typeface="Gill Sans MT"/>
                <a:sym typeface="Gill Sans MT"/>
              </a:rPr>
              <a:t>Farm subsidies</a:t>
            </a:r>
          </a:p>
          <a:p>
            <a:pPr marL="6350" indent="7938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3000" dirty="0" smtClean="0">
                <a:latin typeface="Gill Sans MT"/>
                <a:sym typeface="Gill Sans MT"/>
              </a:rPr>
              <a:t>Impediments to imports</a:t>
            </a:r>
          </a:p>
          <a:p>
            <a:pPr marL="6350" indent="7938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3000" dirty="0" smtClean="0">
                <a:latin typeface="Gill Sans MT"/>
                <a:sym typeface="Gill Sans MT"/>
              </a:rPr>
              <a:t>Services trade restrictions</a:t>
            </a:r>
          </a:p>
          <a:p>
            <a:pPr marL="6350" indent="7938" eaLnBrk="1" hangingPunct="1">
              <a:buFontTx/>
              <a:buNone/>
            </a:pPr>
            <a:endParaRPr lang="en-US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5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25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5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5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25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25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4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7323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516" name="Picture 1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428750"/>
            <a:ext cx="7950200" cy="5200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pPr eaLnBrk="1" hangingPunct="1"/>
            <a:r>
              <a:rPr lang="en-US" b="1" dirty="0" smtClean="0">
                <a:solidFill>
                  <a:schemeClr val="tx1"/>
                </a:solidFill>
                <a:latin typeface="Century Gothic" pitchFamily="34" charset="0"/>
              </a:rPr>
              <a:t>Trade</a:t>
            </a:r>
            <a:endParaRPr lang="en-US" b="1" dirty="0" smtClean="0">
              <a:solidFill>
                <a:schemeClr val="tx1"/>
              </a:solidFill>
              <a:latin typeface="Century Gothic" pitchFamily="34" charset="0"/>
              <a:sym typeface="Gill Sans MT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63642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66" name="Picture 9" descr="Investment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263" y="-63500"/>
            <a:ext cx="6427788" cy="699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634" name="Rectangle 10"/>
          <p:cNvSpPr>
            <a:spLocks noGrp="1" noChangeArrowheads="1"/>
          </p:cNvSpPr>
          <p:nvPr>
            <p:ph type="title"/>
          </p:nvPr>
        </p:nvSpPr>
        <p:spPr>
          <a:xfrm>
            <a:off x="6423025" y="260350"/>
            <a:ext cx="2713038" cy="1006475"/>
          </a:xfrm>
          <a:noFill/>
        </p:spPr>
        <p:txBody>
          <a:bodyPr/>
          <a:lstStyle/>
          <a:p>
            <a:pPr algn="l" eaLnBrk="1" hangingPunct="1"/>
            <a:r>
              <a:rPr lang="en-US" sz="5000" b="1" dirty="0" smtClean="0">
                <a:latin typeface="Century Gothic" pitchFamily="34" charset="0"/>
                <a:sym typeface="Gill Sans MT"/>
              </a:rPr>
              <a:t>Finance</a:t>
            </a:r>
          </a:p>
        </p:txBody>
      </p:sp>
      <p:sp>
        <p:nvSpPr>
          <p:cNvPr id="26635" name="Rectangle 11"/>
          <p:cNvSpPr>
            <a:spLocks noGrp="1" noChangeArrowheads="1"/>
          </p:cNvSpPr>
          <p:nvPr>
            <p:ph type="body" idx="1"/>
          </p:nvPr>
        </p:nvSpPr>
        <p:spPr>
          <a:xfrm>
            <a:off x="6400800" y="1355725"/>
            <a:ext cx="2971800" cy="5418138"/>
          </a:xfrm>
          <a:noFill/>
        </p:spPr>
        <p:txBody>
          <a:bodyPr/>
          <a:lstStyle/>
          <a:p>
            <a:pPr marL="3175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2700" dirty="0" smtClean="0">
                <a:latin typeface="Gill Sans MT"/>
                <a:sym typeface="Gill Sans MT"/>
              </a:rPr>
              <a:t>Political risk insurance</a:t>
            </a:r>
          </a:p>
          <a:p>
            <a:pPr marL="3175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2700" dirty="0" smtClean="0">
                <a:sym typeface="Gill Sans MT"/>
              </a:rPr>
              <a:t>Bribery and corruption</a:t>
            </a:r>
          </a:p>
          <a:p>
            <a:pPr marL="3175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2700" dirty="0" smtClean="0">
                <a:sym typeface="Gill Sans MT"/>
              </a:rPr>
              <a:t>Portfolio investment</a:t>
            </a:r>
          </a:p>
          <a:p>
            <a:pPr marL="3175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2700" dirty="0" smtClean="0"/>
              <a:t>Financial secrecy</a:t>
            </a:r>
          </a:p>
          <a:p>
            <a:pPr marL="3175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2700" dirty="0" smtClean="0"/>
              <a:t>More</a:t>
            </a:r>
            <a:endParaRPr lang="en-US" sz="2700" dirty="0" smtClean="0">
              <a:sym typeface="Gill Sans M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6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6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66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66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663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63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63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72958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pPr eaLnBrk="1" hangingPunct="1"/>
            <a:r>
              <a:rPr lang="en-US" b="1" dirty="0" smtClean="0">
                <a:solidFill>
                  <a:schemeClr val="tx1"/>
                </a:solidFill>
                <a:latin typeface="Century Gothic" pitchFamily="34" charset="0"/>
              </a:rPr>
              <a:t>Finance</a:t>
            </a:r>
            <a:endParaRPr lang="en-US" b="1" dirty="0" smtClean="0">
              <a:solidFill>
                <a:schemeClr val="tx1"/>
              </a:solidFill>
              <a:latin typeface="Century Gothic" pitchFamily="34" charset="0"/>
              <a:sym typeface="Gill Sans MT"/>
            </a:endParaRPr>
          </a:p>
        </p:txBody>
      </p:sp>
      <p:pic>
        <p:nvPicPr>
          <p:cNvPr id="25612" name="Picture 1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1447800"/>
            <a:ext cx="7967663" cy="5200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8686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362" name="Picture 9" descr="Migration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49213"/>
            <a:ext cx="6400800" cy="6956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38" name="Rectangle 10"/>
          <p:cNvSpPr>
            <a:spLocks noGrp="1" noChangeArrowheads="1"/>
          </p:cNvSpPr>
          <p:nvPr>
            <p:ph type="title"/>
          </p:nvPr>
        </p:nvSpPr>
        <p:spPr>
          <a:xfrm>
            <a:off x="6399213" y="234950"/>
            <a:ext cx="2744787" cy="1143000"/>
          </a:xfrm>
          <a:noFill/>
        </p:spPr>
        <p:txBody>
          <a:bodyPr/>
          <a:lstStyle/>
          <a:p>
            <a:pPr algn="l" eaLnBrk="1" hangingPunct="1"/>
            <a:r>
              <a:rPr lang="en-US" b="1" dirty="0" smtClean="0">
                <a:latin typeface="Century Gothic" pitchFamily="34" charset="0"/>
                <a:sym typeface="Gill Sans MT"/>
              </a:rPr>
              <a:t>Migration</a:t>
            </a:r>
          </a:p>
        </p:txBody>
      </p:sp>
      <p:sp>
        <p:nvSpPr>
          <p:cNvPr id="48139" name="Rectangle 11"/>
          <p:cNvSpPr>
            <a:spLocks noGrp="1" noChangeArrowheads="1"/>
          </p:cNvSpPr>
          <p:nvPr>
            <p:ph type="body" idx="1"/>
          </p:nvPr>
        </p:nvSpPr>
        <p:spPr>
          <a:xfrm>
            <a:off x="6323013" y="1460500"/>
            <a:ext cx="2778125" cy="5453063"/>
          </a:xfrm>
          <a:noFill/>
        </p:spPr>
        <p:txBody>
          <a:bodyPr/>
          <a:lstStyle/>
          <a:p>
            <a:pPr marL="61913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2800" dirty="0" smtClean="0">
                <a:latin typeface="Gill Sans MT"/>
                <a:sym typeface="Gill Sans MT"/>
              </a:rPr>
              <a:t>Immigration, especially unskilled</a:t>
            </a:r>
          </a:p>
          <a:p>
            <a:pPr marL="61913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2800" dirty="0" smtClean="0">
                <a:latin typeface="Gill Sans MT"/>
                <a:sym typeface="Gill Sans MT"/>
              </a:rPr>
              <a:t>Foreign students from developing countries </a:t>
            </a:r>
          </a:p>
          <a:p>
            <a:pPr marL="61913" indent="-3175" eaLnBrk="1" hangingPunct="1">
              <a:spcBef>
                <a:spcPts val="0"/>
              </a:spcBef>
              <a:spcAft>
                <a:spcPts val="3000"/>
              </a:spcAft>
              <a:buFontTx/>
              <a:buNone/>
            </a:pPr>
            <a:r>
              <a:rPr lang="en-US" sz="2800" dirty="0" smtClean="0">
                <a:latin typeface="Gill Sans MT"/>
                <a:sym typeface="Gill Sans MT"/>
              </a:rPr>
              <a:t>Aid to refugees and asylum-seekers</a:t>
            </a:r>
          </a:p>
          <a:p>
            <a:pPr marL="61913" indent="-3175" eaLnBrk="1" hangingPunct="1"/>
            <a:endParaRPr lang="en-US" sz="29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81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81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81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3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Default Design 9">
      <a:dk1>
        <a:srgbClr val="336699"/>
      </a:dk1>
      <a:lt1>
        <a:srgbClr val="FFFFFF"/>
      </a:lt1>
      <a:dk2>
        <a:srgbClr val="000000"/>
      </a:dk2>
      <a:lt2>
        <a:srgbClr val="E3EBF1"/>
      </a:lt2>
      <a:accent1>
        <a:srgbClr val="003399"/>
      </a:accent1>
      <a:accent2>
        <a:srgbClr val="468A4B"/>
      </a:accent2>
      <a:accent3>
        <a:srgbClr val="AAAAAA"/>
      </a:accent3>
      <a:accent4>
        <a:srgbClr val="DADADA"/>
      </a:accent4>
      <a:accent5>
        <a:srgbClr val="AAADCA"/>
      </a:accent5>
      <a:accent6>
        <a:srgbClr val="3F7D43"/>
      </a:accent6>
      <a:hlink>
        <a:srgbClr val="66CCFF"/>
      </a:hlink>
      <a:folHlink>
        <a:srgbClr val="F0E5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3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US" sz="3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99</TotalTime>
  <Words>725</Words>
  <Application>Microsoft Office PowerPoint</Application>
  <PresentationFormat>On-screen Show (4:3)</PresentationFormat>
  <Paragraphs>591</Paragraphs>
  <Slides>31</Slides>
  <Notes>3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3" baseType="lpstr">
      <vt:lpstr>Default Design</vt:lpstr>
      <vt:lpstr>think-cell Slide</vt:lpstr>
      <vt:lpstr>PowerPoint Presentation</vt:lpstr>
      <vt:lpstr>Components</vt:lpstr>
      <vt:lpstr>Aid</vt:lpstr>
      <vt:lpstr>Aid</vt:lpstr>
      <vt:lpstr>Trade</vt:lpstr>
      <vt:lpstr>Trade</vt:lpstr>
      <vt:lpstr>Finance</vt:lpstr>
      <vt:lpstr>Finance</vt:lpstr>
      <vt:lpstr>Migration</vt:lpstr>
      <vt:lpstr>Migration</vt:lpstr>
      <vt:lpstr>Environment</vt:lpstr>
      <vt:lpstr>Environment</vt:lpstr>
      <vt:lpstr>Security</vt:lpstr>
      <vt:lpstr>Security</vt:lpstr>
      <vt:lpstr>Technology</vt:lpstr>
      <vt:lpstr>Technology</vt:lpstr>
      <vt:lpstr>Overall</vt:lpstr>
      <vt:lpstr>Change, 2003-13</vt:lpstr>
      <vt:lpstr>PowerPoint Presentation</vt:lpstr>
      <vt:lpstr>Sub-Saharan Africa</vt:lpstr>
      <vt:lpstr>Middle East &amp; North Africa</vt:lpstr>
      <vt:lpstr>Europe and Central Asia</vt:lpstr>
      <vt:lpstr>South Asia</vt:lpstr>
      <vt:lpstr>East Asia &amp; Pacific</vt:lpstr>
      <vt:lpstr>Latin America &amp; Caribbean</vt:lpstr>
      <vt:lpstr>PowerPoint Presentation</vt:lpstr>
      <vt:lpstr>PowerPoint Presentation</vt:lpstr>
      <vt:lpstr>Overall</vt:lpstr>
      <vt:lpstr>Overall (EU)</vt:lpstr>
      <vt:lpstr>Overall (Europe)</vt:lpstr>
      <vt:lpstr>PowerPoint Presentation</vt:lpstr>
    </vt:vector>
  </TitlesOfParts>
  <Company>CG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orporate Staff</dc:creator>
  <cp:lastModifiedBy>CGD</cp:lastModifiedBy>
  <cp:revision>159</cp:revision>
  <dcterms:created xsi:type="dcterms:W3CDTF">2008-01-03T21:36:27Z</dcterms:created>
  <dcterms:modified xsi:type="dcterms:W3CDTF">2013-11-15T12:22:56Z</dcterms:modified>
</cp:coreProperties>
</file>